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82" d="100"/>
          <a:sy n="82" d="100"/>
        </p:scale>
        <p:origin x="557" y="5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0.00689554087174</c:v>
                </c:pt>
                <c:pt idx="1">
                  <c:v>212.86978508608334</c:v>
                </c:pt>
                <c:pt idx="2">
                  <c:v>226.65539277982734</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4.35813800000003</c:v>
                </c:pt>
                <c:pt idx="1">
                  <c:v>76.09821500000001</c:v>
                </c:pt>
                <c:pt idx="2">
                  <c:v>78.32359900000003</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74.36503354087176</c:v>
                </c:pt>
                <c:pt idx="1">
                  <c:v>288.96800008608335</c:v>
                </c:pt>
                <c:pt idx="2">
                  <c:v>304.97899177982737</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8.55537669349079</c:v>
                </c:pt>
                <c:pt idx="1">
                  <c:v>156.00514400343641</c:v>
                </c:pt>
                <c:pt idx="2">
                  <c:v>162.8972169280386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4.7238993467589196</c:v>
                </c:pt>
                <c:pt idx="1">
                  <c:v>125.88348284555238</c:v>
                </c:pt>
                <c:pt idx="2">
                  <c:v>128.5437787133844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3.2792760402497</c:v>
                </c:pt>
                <c:pt idx="1">
                  <c:v>281.88862684898879</c:v>
                </c:pt>
                <c:pt idx="2">
                  <c:v>291.4409956414231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162.89721692803869</c:v>
                </c:pt>
                <c:pt idx="2">
                  <c:v>178.35717084251641</c:v>
                </c:pt>
                <c:pt idx="3">
                  <c:v>90.011244859529896</c:v>
                </c:pt>
                <c:pt idx="4">
                  <c:v>180.98482168973879</c:v>
                </c:pt>
                <c:pt idx="5">
                  <c:v>284.63099949741598</c:v>
                </c:pt>
                <c:pt idx="7">
                  <c:v>183.49605922230029</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128.54377871338443</c:v>
                </c:pt>
                <c:pt idx="2">
                  <c:v>75.441530615517848</c:v>
                </c:pt>
                <c:pt idx="3">
                  <c:v>42.970531980419487</c:v>
                </c:pt>
                <c:pt idx="4">
                  <c:v>166.16671314159723</c:v>
                </c:pt>
                <c:pt idx="5">
                  <c:v>193.70863472255419</c:v>
                </c:pt>
                <c:pt idx="7">
                  <c:v>119.57185261502218</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291.44099564142311</c:v>
                </c:pt>
                <c:pt idx="2">
                  <c:v>253.79870145803426</c:v>
                </c:pt>
                <c:pt idx="3">
                  <c:v>132.98177683994936</c:v>
                </c:pt>
                <c:pt idx="4">
                  <c:v>347.15153483133599</c:v>
                </c:pt>
                <c:pt idx="5">
                  <c:v>478.33963421997009</c:v>
                </c:pt>
                <c:pt idx="7">
                  <c:v>303.06791183732241</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688408902623799</c:v>
                </c:pt>
                <c:pt idx="2">
                  <c:v>24.439951454557182</c:v>
                </c:pt>
                <c:pt idx="3">
                  <c:v>24.468274790112147</c:v>
                </c:pt>
                <c:pt idx="4">
                  <c:v>25.114691935721062</c:v>
                </c:pt>
                <c:pt idx="6">
                  <c:v>43.867903239509907</c:v>
                </c:pt>
                <c:pt idx="7">
                  <c:v>43.867903239509907</c:v>
                </c:pt>
                <c:pt idx="8">
                  <c:v>43.949676260301189</c:v>
                </c:pt>
                <c:pt idx="9">
                  <c:v>45.13238044481545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955136902623799</c:v>
                </c:pt>
                <c:pt idx="5">
                  <c:v>24.381419935721063</c:v>
                </c:pt>
                <c:pt idx="10">
                  <c:v>25.45855444481545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7515425519333827</c:v>
                </c:pt>
                <c:pt idx="2">
                  <c:v>2.8323335554966474E-2</c:v>
                </c:pt>
                <c:pt idx="3">
                  <c:v>0.64641714560891406</c:v>
                </c:pt>
                <c:pt idx="7">
                  <c:v>8.1773020791283138E-2</c:v>
                </c:pt>
                <c:pt idx="8">
                  <c:v>1.182704184514261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0.1873426962111554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73327200000000003</c:v>
                </c:pt>
                <c:pt idx="5">
                  <c:v>19.673825999999998</c:v>
                </c:pt>
                <c:pt idx="10">
                  <c:v>20.089593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8.940553999999999</c:v>
                </c:pt>
                <c:pt idx="9">
                  <c:v>0.4157670000000024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0.688408902623799</c:v>
                </c:pt>
                <c:pt idx="5">
                  <c:v>44.055245935721061</c:v>
                </c:pt>
                <c:pt idx="10">
                  <c:v>45.54814744481545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Re-integratie klassiek</c:v>
                </c:pt>
                <c:pt idx="2">
                  <c:v>Huishoudens laag inkomen (drempel)</c:v>
                </c:pt>
                <c:pt idx="3">
                  <c:v>Klantenpotentieel regionaal</c:v>
                </c:pt>
                <c:pt idx="4">
                  <c:v>Inwoners</c:v>
                </c:pt>
                <c:pt idx="5">
                  <c:v>Eenpersoonshuishoudens</c:v>
                </c:pt>
                <c:pt idx="6">
                  <c:v>Omgevingsadressendichtheid</c:v>
                </c:pt>
                <c:pt idx="7">
                  <c:v>Loonkostensubsidie</c:v>
                </c:pt>
                <c:pt idx="10">
                  <c:v>Overig</c:v>
                </c:pt>
              </c:strCache>
            </c:strRef>
          </c:cat>
          <c:val>
            <c:numRef>
              <c:f>Sheet1!$B$2:$B$12</c:f>
              <c:numCache>
                <c:formatCode>General</c:formatCode>
                <c:ptCount val="11"/>
                <c:pt idx="0">
                  <c:v>10.640878930240012</c:v>
                </c:pt>
                <c:pt idx="1">
                  <c:v>3.7469220372240803</c:v>
                </c:pt>
                <c:pt idx="2">
                  <c:v>3.6430372592640006</c:v>
                </c:pt>
                <c:pt idx="3">
                  <c:v>3.4782559239999999</c:v>
                </c:pt>
                <c:pt idx="4">
                  <c:v>1.9298070251200001</c:v>
                </c:pt>
                <c:pt idx="5">
                  <c:v>0.86862138012000012</c:v>
                </c:pt>
                <c:pt idx="6">
                  <c:v>0.81711211772736014</c:v>
                </c:pt>
                <c:pt idx="7">
                  <c:v>0.3339197711200000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Perspectief op werk 2020</c:v>
                </c:pt>
                <c:pt idx="2">
                  <c:v>Armoedebestrijding kinderen</c:v>
                </c:pt>
                <c:pt idx="3">
                  <c:v>Schulden en armoede</c:v>
                </c:pt>
              </c:strCache>
            </c:strRef>
          </c:cat>
          <c:val>
            <c:numRef>
              <c:f>Sheet1!$B$2:$B$12</c:f>
              <c:numCache>
                <c:formatCode>General</c:formatCode>
                <c:ptCount val="11"/>
                <c:pt idx="0">
                  <c:v>18.181080000000001</c:v>
                </c:pt>
                <c:pt idx="1">
                  <c:v>1</c:v>
                </c:pt>
                <c:pt idx="2">
                  <c:v>0.73799700000000001</c:v>
                </c:pt>
                <c:pt idx="3">
                  <c:v>0.17051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910537765193399</c:v>
                </c:pt>
                <c:pt idx="1">
                  <c:v>5.1555953128881198</c:v>
                </c:pt>
                <c:pt idx="2">
                  <c:v>5.644133786109175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200694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910537765193399</c:v>
                </c:pt>
                <c:pt idx="1">
                  <c:v>5.1555953128881198</c:v>
                </c:pt>
                <c:pt idx="2">
                  <c:v>5.844827786109175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634763281881895</c:v>
                </c:pt>
                <c:pt idx="1">
                  <c:v>32.98820951901078</c:v>
                </c:pt>
                <c:pt idx="2">
                  <c:v>36.11413553427162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284145732823157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634763281881895</c:v>
                </c:pt>
                <c:pt idx="1">
                  <c:v>32.98820951901078</c:v>
                </c:pt>
                <c:pt idx="2">
                  <c:v>37.3982812670947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36.114135534271625</c:v>
                </c:pt>
                <c:pt idx="2">
                  <c:v>39.780038200916479</c:v>
                </c:pt>
                <c:pt idx="3">
                  <c:v>28.942836044289994</c:v>
                </c:pt>
                <c:pt idx="4">
                  <c:v>34.771242999407633</c:v>
                </c:pt>
                <c:pt idx="5">
                  <c:v>39.709787956142897</c:v>
                </c:pt>
                <c:pt idx="7">
                  <c:v>35.800976300189248</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1.2841457328231576</c:v>
                </c:pt>
                <c:pt idx="2">
                  <c:v>1.2847547871828591</c:v>
                </c:pt>
                <c:pt idx="3">
                  <c:v>1.285544785554511</c:v>
                </c:pt>
                <c:pt idx="4">
                  <c:v>2.091812846535456</c:v>
                </c:pt>
                <c:pt idx="5">
                  <c:v>1.6333702338570693</c:v>
                </c:pt>
                <c:pt idx="7">
                  <c:v>1.5738706632824737</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37.398281267094788</c:v>
                </c:pt>
                <c:pt idx="2">
                  <c:v>41.064792988099335</c:v>
                </c:pt>
                <c:pt idx="3">
                  <c:v>30.228380829844504</c:v>
                </c:pt>
                <c:pt idx="4">
                  <c:v>36.863055845943094</c:v>
                </c:pt>
                <c:pt idx="5">
                  <c:v>41.343158189999961</c:v>
                </c:pt>
                <c:pt idx="7">
                  <c:v>37.374846963471725</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8844920529633757</c:v>
                </c:pt>
                <c:pt idx="2">
                  <c:v>4.8844920529633757</c:v>
                </c:pt>
                <c:pt idx="3">
                  <c:v>5.0634972571701669</c:v>
                </c:pt>
                <c:pt idx="4">
                  <c:v>5.1555953128881198</c:v>
                </c:pt>
                <c:pt idx="6">
                  <c:v>5.1500641364977646</c:v>
                </c:pt>
                <c:pt idx="7">
                  <c:v>5.1500641364977646</c:v>
                </c:pt>
                <c:pt idx="8">
                  <c:v>5.386880591869545</c:v>
                </c:pt>
                <c:pt idx="9">
                  <c:v>5.644133786109175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910537765193399</c:v>
                </c:pt>
                <c:pt idx="5">
                  <c:v>5.1555953128881198</c:v>
                </c:pt>
                <c:pt idx="10">
                  <c:v>5.644133786109175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7900520420679109</c:v>
                </c:pt>
                <c:pt idx="3">
                  <c:v>9.2098055717953209E-2</c:v>
                </c:pt>
                <c:pt idx="7">
                  <c:v>0.23681645537178045</c:v>
                </c:pt>
                <c:pt idx="8">
                  <c:v>0.2572531942396303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6045712230023541E-2</c:v>
                </c:pt>
                <c:pt idx="6">
                  <c:v>5.5311763903554976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200694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0.20069400000000001</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910537765193399</c:v>
                </c:pt>
                <c:pt idx="5">
                  <c:v>5.1555953128881198</c:v>
                </c:pt>
                <c:pt idx="10">
                  <c:v>5.844827786109175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Minderheden</c:v>
                </c:pt>
                <c:pt idx="2">
                  <c:v>Inwoners</c:v>
                </c:pt>
                <c:pt idx="3">
                  <c:v>Huishoudens met laag inkomen (drempel)</c:v>
                </c:pt>
                <c:pt idx="4">
                  <c:v>Omgevingsadressendichtheid</c:v>
                </c:pt>
                <c:pt idx="5">
                  <c:v>Klantenpotentieel regionaal</c:v>
                </c:pt>
                <c:pt idx="6">
                  <c:v>Eenouderhuishoudens</c:v>
                </c:pt>
                <c:pt idx="7">
                  <c:v>Bijstandsontvangers</c:v>
                </c:pt>
                <c:pt idx="8">
                  <c:v>Huishoudens</c:v>
                </c:pt>
                <c:pt idx="9">
                  <c:v>Klantenpotentieel lokaal</c:v>
                </c:pt>
                <c:pt idx="10">
                  <c:v>Overig</c:v>
                </c:pt>
              </c:strCache>
            </c:strRef>
          </c:cat>
          <c:val>
            <c:numRef>
              <c:f>Sheet1!$B$2:$B$12</c:f>
              <c:numCache>
                <c:formatCode>General</c:formatCode>
                <c:ptCount val="11"/>
                <c:pt idx="0">
                  <c:v>0.98242390532000001</c:v>
                </c:pt>
                <c:pt idx="1">
                  <c:v>0.9137007022000001</c:v>
                </c:pt>
                <c:pt idx="2">
                  <c:v>0.74824110504000019</c:v>
                </c:pt>
                <c:pt idx="3">
                  <c:v>0.58929147638400003</c:v>
                </c:pt>
                <c:pt idx="4">
                  <c:v>0.58257067652784</c:v>
                </c:pt>
                <c:pt idx="5">
                  <c:v>0.52033748000000002</c:v>
                </c:pt>
                <c:pt idx="6">
                  <c:v>0.36487059024000001</c:v>
                </c:pt>
                <c:pt idx="7">
                  <c:v>0.29064335282666698</c:v>
                </c:pt>
                <c:pt idx="8">
                  <c:v>0.20535783840000002</c:v>
                </c:pt>
                <c:pt idx="9">
                  <c:v>0.15659935200000002</c:v>
                </c:pt>
                <c:pt idx="10">
                  <c:v>0.2900973071706687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01.95518496174441</c:v>
                </c:pt>
                <c:pt idx="1">
                  <c:v>1362.0528075840662</c:v>
                </c:pt>
                <c:pt idx="2">
                  <c:v>1450.2603738007713</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65.56464767500313</c:v>
                </c:pt>
                <c:pt idx="1">
                  <c:v>486.9163904636373</c:v>
                </c:pt>
                <c:pt idx="2">
                  <c:v>501.15556735728109</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767.5198326367477</c:v>
                </c:pt>
                <c:pt idx="1">
                  <c:v>1848.9691980477035</c:v>
                </c:pt>
                <c:pt idx="2">
                  <c:v>1951.4159411580524</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erhoging taalniveau statush</c:v>
                </c:pt>
                <c:pt idx="1">
                  <c:v>LHBT emancipatiebeleid</c:v>
                </c:pt>
                <c:pt idx="2">
                  <c:v>Landelijke vreemdelingenvoorz</c:v>
                </c:pt>
              </c:strCache>
            </c:strRef>
          </c:cat>
          <c:val>
            <c:numRef>
              <c:f>Sheet1!$B$2:$B$12</c:f>
              <c:numCache>
                <c:formatCode>General</c:formatCode>
                <c:ptCount val="11"/>
                <c:pt idx="0">
                  <c:v>0.18069399999999999</c:v>
                </c:pt>
                <c:pt idx="1">
                  <c:v>0.0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4883840598301985</c:v>
                </c:pt>
                <c:pt idx="1">
                  <c:v>44.316347772676039</c:v>
                </c:pt>
                <c:pt idx="2">
                  <c:v>45.42108882312852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2837999999999999</c:v>
                </c:pt>
                <c:pt idx="1">
                  <c:v>5.9750709999999998</c:v>
                </c:pt>
                <c:pt idx="2">
                  <c:v>7.481202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6167640598301984</c:v>
                </c:pt>
                <c:pt idx="1">
                  <c:v>50.291418772676039</c:v>
                </c:pt>
                <c:pt idx="2">
                  <c:v>52.90229182312852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0.28750183798434</c:v>
                </c:pt>
                <c:pt idx="1">
                  <c:v>1260.1685606584592</c:v>
                </c:pt>
                <c:pt idx="2">
                  <c:v>1291.582700347727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2622671714989964</c:v>
                </c:pt>
                <c:pt idx="1">
                  <c:v>169.90562174766117</c:v>
                </c:pt>
                <c:pt idx="2">
                  <c:v>212.7336138993943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3.54976900948336</c:v>
                </c:pt>
                <c:pt idx="1">
                  <c:v>1430.0741824061204</c:v>
                </c:pt>
                <c:pt idx="2">
                  <c:v>1504.316314247121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1291.5827003477273</c:v>
                </c:pt>
                <c:pt idx="2">
                  <c:v>1563.0491978507637</c:v>
                </c:pt>
                <c:pt idx="3">
                  <c:v>1002.1588112010203</c:v>
                </c:pt>
                <c:pt idx="4">
                  <c:v>1341.3666329653965</c:v>
                </c:pt>
                <c:pt idx="5">
                  <c:v>1797.8125865963343</c:v>
                </c:pt>
                <c:pt idx="7">
                  <c:v>1426.0968071533787</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212.73361389939433</c:v>
                </c:pt>
                <c:pt idx="2">
                  <c:v>180.97674344616951</c:v>
                </c:pt>
                <c:pt idx="3">
                  <c:v>146.20022976690751</c:v>
                </c:pt>
                <c:pt idx="4">
                  <c:v>236.0194047372419</c:v>
                </c:pt>
                <c:pt idx="5">
                  <c:v>317.71951387454385</c:v>
                </c:pt>
                <c:pt idx="7">
                  <c:v>220.2289729562157</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1504.3163142471215</c:v>
                </c:pt>
                <c:pt idx="2">
                  <c:v>1744.0259412969331</c:v>
                </c:pt>
                <c:pt idx="3">
                  <c:v>1148.3590409679277</c:v>
                </c:pt>
                <c:pt idx="4">
                  <c:v>1577.3860377026385</c:v>
                </c:pt>
                <c:pt idx="5">
                  <c:v>2115.532100470878</c:v>
                </c:pt>
                <c:pt idx="7">
                  <c:v>1646.3257801095942</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238334508089201</c:v>
                </c:pt>
                <c:pt idx="2">
                  <c:v>7.238334508089201</c:v>
                </c:pt>
                <c:pt idx="3">
                  <c:v>44.170053202186985</c:v>
                </c:pt>
                <c:pt idx="4">
                  <c:v>44.444727772676039</c:v>
                </c:pt>
                <c:pt idx="6">
                  <c:v>50.247311581945034</c:v>
                </c:pt>
                <c:pt idx="7">
                  <c:v>49.323886038032271</c:v>
                </c:pt>
                <c:pt idx="8">
                  <c:v>49.323886038032271</c:v>
                </c:pt>
                <c:pt idx="9">
                  <c:v>51.39615982312851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7.4883840598301985</c:v>
                </c:pt>
                <c:pt idx="5">
                  <c:v>44.316347772676032</c:v>
                </c:pt>
                <c:pt idx="10">
                  <c:v>45.42108882312851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6.931718694097782</c:v>
                </c:pt>
                <c:pt idx="3">
                  <c:v>0.2746745704890558</c:v>
                </c:pt>
                <c:pt idx="8">
                  <c:v>2.072273785096246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37842955174099702</c:v>
                </c:pt>
                <c:pt idx="6">
                  <c:v>4.4107190731000959E-2</c:v>
                </c:pt>
                <c:pt idx="7">
                  <c:v>0.9234255439127632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2837999999999999</c:v>
                </c:pt>
                <c:pt idx="5">
                  <c:v>5.9750709999999998</c:v>
                </c:pt>
                <c:pt idx="10">
                  <c:v>7.481202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8466909999999999</c:v>
                </c:pt>
                <c:pt idx="9">
                  <c:v>1.50613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6167640598301984</c:v>
                </c:pt>
                <c:pt idx="5">
                  <c:v>50.291418772676032</c:v>
                </c:pt>
                <c:pt idx="10">
                  <c:v>52.90229182312851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 kinderen)</c:v>
                </c:pt>
                <c:pt idx="3">
                  <c:v>Ouders lang psychisch medicijngebruik</c:v>
                </c:pt>
                <c:pt idx="4">
                  <c:v>Gem. Gestand. inkomen (huishoudens)</c:v>
                </c:pt>
                <c:pt idx="5">
                  <c:v>Eenouderhuishoudens</c:v>
                </c:pt>
                <c:pt idx="6">
                  <c:v>Eenouderhuishoudens 2 of meer kinderen</c:v>
                </c:pt>
                <c:pt idx="7">
                  <c:v>Bijstandsont. eenouderhuishoudens</c:v>
                </c:pt>
                <c:pt idx="8">
                  <c:v>Minderheden</c:v>
                </c:pt>
                <c:pt idx="9">
                  <c:v>BO leerlingen, leerlingengewicht 1,2</c:v>
                </c:pt>
                <c:pt idx="10">
                  <c:v>Overig</c:v>
                </c:pt>
              </c:strCache>
            </c:strRef>
          </c:cat>
          <c:val>
            <c:numRef>
              <c:f>Sheet1!$B$2:$B$12</c:f>
              <c:numCache>
                <c:formatCode>General</c:formatCode>
                <c:ptCount val="11"/>
                <c:pt idx="0">
                  <c:v>28.913194716119996</c:v>
                </c:pt>
                <c:pt idx="1">
                  <c:v>11.088645943440001</c:v>
                </c:pt>
                <c:pt idx="2">
                  <c:v>-10.581091360039201</c:v>
                </c:pt>
                <c:pt idx="3">
                  <c:v>10.012130203201162</c:v>
                </c:pt>
                <c:pt idx="4">
                  <c:v>-9.6986947045248009</c:v>
                </c:pt>
                <c:pt idx="5">
                  <c:v>5.7906377162400009</c:v>
                </c:pt>
                <c:pt idx="6">
                  <c:v>3.8367037903999996</c:v>
                </c:pt>
                <c:pt idx="7">
                  <c:v>2.4773876919999993</c:v>
                </c:pt>
                <c:pt idx="8">
                  <c:v>1.8942192074000004</c:v>
                </c:pt>
                <c:pt idx="9">
                  <c:v>-1.8476020695600002</c:v>
                </c:pt>
                <c:pt idx="10">
                  <c:v>3.535557688451362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2">
                  <c:v>Jeugd</c:v>
                </c:pt>
                <c:pt idx="3">
                  <c:v>Jeugdhulp kinderen AZC</c:v>
                </c:pt>
                <c:pt idx="4">
                  <c:v>Geweld hoort nergens thuis</c:v>
                </c:pt>
                <c:pt idx="5">
                  <c:v>Actieprogramma thuisloze jongeren</c:v>
                </c:pt>
                <c:pt idx="6">
                  <c:v>Suppletie uitkering IUSD</c:v>
                </c:pt>
              </c:strCache>
            </c:strRef>
          </c:cat>
          <c:val>
            <c:numRef>
              <c:f>Sheet1!$B$2:$B$12</c:f>
              <c:numCache>
                <c:formatCode>General</c:formatCode>
                <c:ptCount val="11"/>
                <c:pt idx="0">
                  <c:v>6.7030690000000002</c:v>
                </c:pt>
                <c:pt idx="1">
                  <c:v>0.67085099999999998</c:v>
                </c:pt>
                <c:pt idx="2">
                  <c:v>0.12837999999999999</c:v>
                </c:pt>
                <c:pt idx="3">
                  <c:v>0.110165</c:v>
                </c:pt>
                <c:pt idx="4">
                  <c:v>7.4999999999999997E-2</c:v>
                </c:pt>
                <c:pt idx="5">
                  <c:v>0</c:v>
                </c:pt>
                <c:pt idx="6">
                  <c:v>-0.20626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786380973068106</c:v>
                </c:pt>
                <c:pt idx="1">
                  <c:v>49.847363281159893</c:v>
                </c:pt>
                <c:pt idx="2">
                  <c:v>53.64132039719182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7.375333999999999</c:v>
                </c:pt>
                <c:pt idx="1">
                  <c:v>44.594116</c:v>
                </c:pt>
                <c:pt idx="2">
                  <c:v>47.109383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9.161714973068101</c:v>
                </c:pt>
                <c:pt idx="1">
                  <c:v>94.4414792811599</c:v>
                </c:pt>
                <c:pt idx="2">
                  <c:v>100.7507033971918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0.35265337680613</c:v>
                </c:pt>
                <c:pt idx="1">
                  <c:v>318.94963900259711</c:v>
                </c:pt>
                <c:pt idx="2">
                  <c:v>343.2253714164533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11.93571953152178</c:v>
                </c:pt>
                <c:pt idx="1">
                  <c:v>285.33660084716479</c:v>
                </c:pt>
                <c:pt idx="2">
                  <c:v>301.430601589393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2.28837290832789</c:v>
                </c:pt>
                <c:pt idx="1">
                  <c:v>604.28623984976196</c:v>
                </c:pt>
                <c:pt idx="2">
                  <c:v>644.655973005847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343.22537141645336</c:v>
                </c:pt>
                <c:pt idx="2">
                  <c:v>404.11875501147733</c:v>
                </c:pt>
                <c:pt idx="3">
                  <c:v>309.84177798363805</c:v>
                </c:pt>
                <c:pt idx="4">
                  <c:v>393.58514501958905</c:v>
                </c:pt>
                <c:pt idx="5">
                  <c:v>452.61964183013146</c:v>
                </c:pt>
                <c:pt idx="7">
                  <c:v>390.04132996120899</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301.4306015893938</c:v>
                </c:pt>
                <c:pt idx="2">
                  <c:v>122.91994739711967</c:v>
                </c:pt>
                <c:pt idx="3">
                  <c:v>0.99880053165623883</c:v>
                </c:pt>
                <c:pt idx="4">
                  <c:v>279.44401932492462</c:v>
                </c:pt>
                <c:pt idx="5">
                  <c:v>414.44337237241012</c:v>
                </c:pt>
                <c:pt idx="7">
                  <c:v>204.45153490652768</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644.65597300584716</c:v>
                </c:pt>
                <c:pt idx="2">
                  <c:v>527.03870240859703</c:v>
                </c:pt>
                <c:pt idx="3">
                  <c:v>310.84057851529423</c:v>
                </c:pt>
                <c:pt idx="4">
                  <c:v>673.02916434451367</c:v>
                </c:pt>
                <c:pt idx="5">
                  <c:v>867.06301420254169</c:v>
                </c:pt>
                <c:pt idx="7">
                  <c:v>594.49286486773667</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1.0355208176031299</c:v>
                </c:pt>
                <c:pt idx="1">
                  <c:v>1.0340078854049712</c:v>
                </c:pt>
                <c:pt idx="2">
                  <c:v>1.0456737446678352</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1.0355208176031299</c:v>
                </c:pt>
                <c:pt idx="1">
                  <c:v>1.0340078854049712</c:v>
                </c:pt>
                <c:pt idx="2">
                  <c:v>1.0456737446678352</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9.161714973068101</c:v>
                </c:pt>
                <c:pt idx="2">
                  <c:v>40.411797344981316</c:v>
                </c:pt>
                <c:pt idx="3">
                  <c:v>64.295331270057829</c:v>
                </c:pt>
                <c:pt idx="4">
                  <c:v>67.222697281159896</c:v>
                </c:pt>
                <c:pt idx="6">
                  <c:v>94.4414792811599</c:v>
                </c:pt>
                <c:pt idx="7">
                  <c:v>95.693895492505902</c:v>
                </c:pt>
                <c:pt idx="8">
                  <c:v>95.760208263330725</c:v>
                </c:pt>
                <c:pt idx="9">
                  <c:v>98.2354363971918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786380973068106</c:v>
                </c:pt>
                <c:pt idx="5">
                  <c:v>49.847363281159893</c:v>
                </c:pt>
                <c:pt idx="10">
                  <c:v>53.64132039719182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2500823719132126</c:v>
                </c:pt>
                <c:pt idx="2">
                  <c:v>23.88353392507651</c:v>
                </c:pt>
                <c:pt idx="3">
                  <c:v>2.9273660111020665</c:v>
                </c:pt>
                <c:pt idx="6">
                  <c:v>1.2524162113460002</c:v>
                </c:pt>
                <c:pt idx="7">
                  <c:v>6.6312770824826908E-2</c:v>
                </c:pt>
                <c:pt idx="8">
                  <c:v>2.475228133861105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7.375333999999999</c:v>
                </c:pt>
                <c:pt idx="5">
                  <c:v>44.594116</c:v>
                </c:pt>
                <c:pt idx="10">
                  <c:v>47.109383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7.218782000000001</c:v>
                </c:pt>
                <c:pt idx="9">
                  <c:v>2.5152670000000015</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9.161714973068101</c:v>
                </c:pt>
                <c:pt idx="5">
                  <c:v>94.4414792811599</c:v>
                </c:pt>
                <c:pt idx="10">
                  <c:v>100.7507033971918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Wajong</c:v>
                </c:pt>
                <c:pt idx="5">
                  <c:v>Klantenpotentieel lokaal</c:v>
                </c:pt>
                <c:pt idx="6">
                  <c:v>Uitkeringsont. min bijstandsont.</c:v>
                </c:pt>
                <c:pt idx="7">
                  <c:v>Klantenpotentieel regionaal</c:v>
                </c:pt>
                <c:pt idx="8">
                  <c:v>Huishoudens</c:v>
                </c:pt>
                <c:pt idx="9">
                  <c:v>Minderheden</c:v>
                </c:pt>
                <c:pt idx="10">
                  <c:v>Overig</c:v>
                </c:pt>
              </c:strCache>
            </c:strRef>
          </c:cat>
          <c:val>
            <c:numRef>
              <c:f>Sheet1!$B$2:$B$12</c:f>
              <c:numCache>
                <c:formatCode>General</c:formatCode>
                <c:ptCount val="11"/>
                <c:pt idx="0">
                  <c:v>11.07027026605831</c:v>
                </c:pt>
                <c:pt idx="1">
                  <c:v>8.5531264363999995</c:v>
                </c:pt>
                <c:pt idx="2">
                  <c:v>7.0818291922560022</c:v>
                </c:pt>
                <c:pt idx="3">
                  <c:v>3.6444183370400003</c:v>
                </c:pt>
                <c:pt idx="4">
                  <c:v>2.6996145945600007</c:v>
                </c:pt>
                <c:pt idx="5">
                  <c:v>2.5026896439999997</c:v>
                </c:pt>
                <c:pt idx="6">
                  <c:v>2.4879313648800001</c:v>
                </c:pt>
                <c:pt idx="7">
                  <c:v>2.0653395360000002</c:v>
                </c:pt>
                <c:pt idx="8">
                  <c:v>2.0022389244000003</c:v>
                </c:pt>
                <c:pt idx="9">
                  <c:v>1.5399538362000003</c:v>
                </c:pt>
                <c:pt idx="10">
                  <c:v>9.9939082653975149</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5"/>
                <c:pt idx="0">
                  <c:v>Beschermd wonen</c:v>
                </c:pt>
                <c:pt idx="1">
                  <c:v>Maatschappelijke opvang</c:v>
                </c:pt>
                <c:pt idx="2">
                  <c:v>Vrouwenopvang</c:v>
                </c:pt>
                <c:pt idx="3">
                  <c:v>WMO</c:v>
                </c:pt>
                <c:pt idx="4">
                  <c:v>Programma Sociaal domein</c:v>
                </c:pt>
              </c:strCache>
            </c:strRef>
          </c:cat>
          <c:val>
            <c:numRef>
              <c:f>Sheet1!$B$2:$B$12</c:f>
              <c:numCache>
                <c:formatCode>General</c:formatCode>
                <c:ptCount val="11"/>
                <c:pt idx="0">
                  <c:v>38.341085999999997</c:v>
                </c:pt>
                <c:pt idx="1">
                  <c:v>5.7447600000000003</c:v>
                </c:pt>
                <c:pt idx="2">
                  <c:v>2.8979270000000001</c:v>
                </c:pt>
                <c:pt idx="3">
                  <c:v>0.12561</c:v>
                </c:pt>
                <c:pt idx="4">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393292962033801</c:v>
                </c:pt>
                <c:pt idx="1">
                  <c:v>21.619930759667561</c:v>
                </c:pt>
                <c:pt idx="2">
                  <c:v>22.67567102192704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26317699999999999</c:v>
                </c:pt>
                <c:pt idx="1">
                  <c:v>0.26317699999999999</c:v>
                </c:pt>
                <c:pt idx="2">
                  <c:v>0.3859989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6564699620338</c:v>
                </c:pt>
                <c:pt idx="1">
                  <c:v>21.88310775966756</c:v>
                </c:pt>
                <c:pt idx="2">
                  <c:v>23.06167002192704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43.62546596279321</c:v>
                </c:pt>
                <c:pt idx="1">
                  <c:v>614.77893364994338</c:v>
                </c:pt>
                <c:pt idx="2">
                  <c:v>644.799699204568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687596879526339</c:v>
                </c:pt>
                <c:pt idx="1">
                  <c:v>7.4836352262063865</c:v>
                </c:pt>
                <c:pt idx="2">
                  <c:v>10.97617084198254</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50.31306284231948</c:v>
                </c:pt>
                <c:pt idx="1">
                  <c:v>622.26256887614977</c:v>
                </c:pt>
                <c:pt idx="2">
                  <c:v>655.7758700465506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644.79969920456801</c:v>
                </c:pt>
                <c:pt idx="2">
                  <c:v>593.91262533843224</c:v>
                </c:pt>
                <c:pt idx="3">
                  <c:v>536.38650988341135</c:v>
                </c:pt>
                <c:pt idx="4">
                  <c:v>607.37151211406399</c:v>
                </c:pt>
                <c:pt idx="5">
                  <c:v>622.03495012962287</c:v>
                </c:pt>
                <c:pt idx="7">
                  <c:v>589.92639936638261</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10.97617084198254</c:v>
                </c:pt>
                <c:pt idx="2">
                  <c:v>12.229829473148383</c:v>
                </c:pt>
                <c:pt idx="3">
                  <c:v>7.6422589714907634</c:v>
                </c:pt>
                <c:pt idx="4">
                  <c:v>13.443408604378151</c:v>
                </c:pt>
                <c:pt idx="5">
                  <c:v>16.022998003167391</c:v>
                </c:pt>
                <c:pt idx="7">
                  <c:v>12.334623763046171</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655.77587004655061</c:v>
                </c:pt>
                <c:pt idx="2">
                  <c:v>606.14245481158059</c:v>
                </c:pt>
                <c:pt idx="3">
                  <c:v>544.02876885490218</c:v>
                </c:pt>
                <c:pt idx="4">
                  <c:v>620.81492071844218</c:v>
                </c:pt>
                <c:pt idx="5">
                  <c:v>638.05794813279033</c:v>
                </c:pt>
                <c:pt idx="7">
                  <c:v>602.26102312942885</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0.730344205880467</c:v>
                </c:pt>
                <c:pt idx="2">
                  <c:v>20.730344205880467</c:v>
                </c:pt>
                <c:pt idx="3">
                  <c:v>21.466681873864569</c:v>
                </c:pt>
                <c:pt idx="4">
                  <c:v>21.88310775966756</c:v>
                </c:pt>
                <c:pt idx="6">
                  <c:v>21.88310775966756</c:v>
                </c:pt>
                <c:pt idx="7">
                  <c:v>21.883838538765467</c:v>
                </c:pt>
                <c:pt idx="8">
                  <c:v>21.883838538765467</c:v>
                </c:pt>
                <c:pt idx="9">
                  <c:v>22.93884802192704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393292962033801</c:v>
                </c:pt>
                <c:pt idx="5">
                  <c:v>21.619930759667561</c:v>
                </c:pt>
                <c:pt idx="10">
                  <c:v>22.67567102192704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73633766798410327</c:v>
                </c:pt>
                <c:pt idx="3">
                  <c:v>0.41642588580298995</c:v>
                </c:pt>
                <c:pt idx="6">
                  <c:v>7.3077909790790355E-4</c:v>
                </c:pt>
                <c:pt idx="8">
                  <c:v>1.055009483161575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9261257561533331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26317699999999999</c:v>
                </c:pt>
                <c:pt idx="5">
                  <c:v>0.26317699999999999</c:v>
                </c:pt>
                <c:pt idx="10">
                  <c:v>0.3859989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0.1228219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1.6564699620338</c:v>
                </c:pt>
                <c:pt idx="5">
                  <c:v>21.88310775966756</c:v>
                </c:pt>
                <c:pt idx="10">
                  <c:v>23.06167002192704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eerlingen (V)SO</c:v>
                </c:pt>
                <c:pt idx="3">
                  <c:v>Minderheden</c:v>
                </c:pt>
                <c:pt idx="4">
                  <c:v>Huishoudens laag inkomen (drempel)</c:v>
                </c:pt>
                <c:pt idx="5">
                  <c:v>Omgevingsadressendichtheid</c:v>
                </c:pt>
                <c:pt idx="6">
                  <c:v>Inwoners</c:v>
                </c:pt>
                <c:pt idx="7">
                  <c:v>Land</c:v>
                </c:pt>
                <c:pt idx="8">
                  <c:v>Klantenpotentieel regionaal</c:v>
                </c:pt>
                <c:pt idx="9">
                  <c:v>Kernen</c:v>
                </c:pt>
                <c:pt idx="10">
                  <c:v>Overig</c:v>
                </c:pt>
              </c:strCache>
            </c:strRef>
          </c:cat>
          <c:val>
            <c:numRef>
              <c:f>Sheet1!$B$2:$B$12</c:f>
              <c:numCache>
                <c:formatCode>General</c:formatCode>
                <c:ptCount val="11"/>
                <c:pt idx="0">
                  <c:v>10.351448650400002</c:v>
                </c:pt>
                <c:pt idx="1">
                  <c:v>7.1730346047360003</c:v>
                </c:pt>
                <c:pt idx="2">
                  <c:v>1.9344530702640002</c:v>
                </c:pt>
                <c:pt idx="3">
                  <c:v>1.2669179510000002</c:v>
                </c:pt>
                <c:pt idx="4">
                  <c:v>0.82870355630400017</c:v>
                </c:pt>
                <c:pt idx="5">
                  <c:v>0.72127798046303992</c:v>
                </c:pt>
                <c:pt idx="6">
                  <c:v>0.26201035328</c:v>
                </c:pt>
                <c:pt idx="7">
                  <c:v>8.6571944159999997E-2</c:v>
                </c:pt>
                <c:pt idx="8">
                  <c:v>2.8018172000000001E-2</c:v>
                </c:pt>
                <c:pt idx="9">
                  <c:v>2.1385710839999999E-2</c:v>
                </c:pt>
                <c:pt idx="10">
                  <c:v>1.8490284800058987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oorschoolse voorz peuters</c:v>
                </c:pt>
                <c:pt idx="1">
                  <c:v>Aanpak laaggeletterdheid</c:v>
                </c:pt>
                <c:pt idx="2">
                  <c:v>Aanpak lerarentekort G4 2020-2021</c:v>
                </c:pt>
              </c:strCache>
            </c:strRef>
          </c:cat>
          <c:val>
            <c:numRef>
              <c:f>Sheet1!$B$2:$B$12</c:f>
              <c:numCache>
                <c:formatCode>General</c:formatCode>
                <c:ptCount val="11"/>
                <c:pt idx="0">
                  <c:v>0.26317699999999999</c:v>
                </c:pt>
                <c:pt idx="1">
                  <c:v>0.12282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634762695728001</c:v>
                </c:pt>
                <c:pt idx="1">
                  <c:v>1.6445617967877597</c:v>
                </c:pt>
                <c:pt idx="2">
                  <c:v>1.7233974937185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84804</c:v>
                </c:pt>
                <c:pt idx="1">
                  <c:v>0.21238699999999999</c:v>
                </c:pt>
                <c:pt idx="2">
                  <c:v>0.2123869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482802695728001</c:v>
                </c:pt>
                <c:pt idx="1">
                  <c:v>1.8569487967877598</c:v>
                </c:pt>
                <c:pt idx="2">
                  <c:v>1.935784493718506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4.168331562199999</c:v>
                </c:pt>
                <c:pt idx="1">
                  <c:v>-25.262024205280003</c:v>
                </c:pt>
                <c:pt idx="2">
                  <c:v>-23.7252142932400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168331562199999</c:v>
                </c:pt>
                <c:pt idx="1">
                  <c:v>-25.262024205280003</c:v>
                </c:pt>
                <c:pt idx="2">
                  <c:v>-23.725214293240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139591753783515</c:v>
                </c:pt>
                <c:pt idx="1">
                  <c:v>10.522771052991054</c:v>
                </c:pt>
                <c:pt idx="2">
                  <c:v>11.0272032921599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1905479752103385</c:v>
                </c:pt>
                <c:pt idx="1">
                  <c:v>1.3589636947647261</c:v>
                </c:pt>
                <c:pt idx="2">
                  <c:v>1.358963694764726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3301397289938546</c:v>
                </c:pt>
                <c:pt idx="1">
                  <c:v>11.881734747755779</c:v>
                </c:pt>
                <c:pt idx="2">
                  <c:v>12.38616698692465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11.027203292159932</c:v>
                </c:pt>
                <c:pt idx="2">
                  <c:v>11.696438262671412</c:v>
                </c:pt>
                <c:pt idx="3">
                  <c:v>9.1984624767383103</c:v>
                </c:pt>
                <c:pt idx="4">
                  <c:v>10.338757885379765</c:v>
                </c:pt>
                <c:pt idx="5">
                  <c:v>11.483633511395139</c:v>
                </c:pt>
                <c:pt idx="7">
                  <c:v>10.679323034046156</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1.3589636947647261</c:v>
                </c:pt>
                <c:pt idx="2">
                  <c:v>1.1173621580010906</c:v>
                </c:pt>
                <c:pt idx="3">
                  <c:v>0</c:v>
                </c:pt>
                <c:pt idx="4">
                  <c:v>1.8801271035310139</c:v>
                </c:pt>
                <c:pt idx="5">
                  <c:v>4.1984954650094979</c:v>
                </c:pt>
                <c:pt idx="7">
                  <c:v>1.7989961816354005</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12.386166986924657</c:v>
                </c:pt>
                <c:pt idx="2">
                  <c:v>12.813800420672502</c:v>
                </c:pt>
                <c:pt idx="3">
                  <c:v>9.1984624767383103</c:v>
                </c:pt>
                <c:pt idx="4">
                  <c:v>12.21888498891078</c:v>
                </c:pt>
                <c:pt idx="5">
                  <c:v>15.682128976404638</c:v>
                </c:pt>
                <c:pt idx="7">
                  <c:v>12.478319215681559</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4392015130523186</c:v>
                </c:pt>
                <c:pt idx="2">
                  <c:v>1.4392015130523186</c:v>
                </c:pt>
                <c:pt idx="3">
                  <c:v>1.7924292718177997</c:v>
                </c:pt>
                <c:pt idx="4">
                  <c:v>1.8293657967877597</c:v>
                </c:pt>
                <c:pt idx="6">
                  <c:v>1.855602730275149</c:v>
                </c:pt>
                <c:pt idx="7">
                  <c:v>1.855602730275149</c:v>
                </c:pt>
                <c:pt idx="8">
                  <c:v>1.855602730275149</c:v>
                </c:pt>
                <c:pt idx="9">
                  <c:v>1.935784493718507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2634762695728001</c:v>
                </c:pt>
                <c:pt idx="5">
                  <c:v>1.6445617967877597</c:v>
                </c:pt>
                <c:pt idx="10">
                  <c:v>1.72339749371850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35322775876548101</c:v>
                </c:pt>
                <c:pt idx="3">
                  <c:v>3.6936524969960104E-2</c:v>
                </c:pt>
                <c:pt idx="8">
                  <c:v>8.018176344335806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0787565204815505E-3</c:v>
                </c:pt>
                <c:pt idx="6">
                  <c:v>1.346066512610743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84804</c:v>
                </c:pt>
                <c:pt idx="5">
                  <c:v>0.21238699999999999</c:v>
                </c:pt>
                <c:pt idx="10">
                  <c:v>0.2123869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7582999999999996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4482802695728001</c:v>
                </c:pt>
                <c:pt idx="5">
                  <c:v>1.8569487967877598</c:v>
                </c:pt>
                <c:pt idx="10">
                  <c:v>1.935784493718506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Minderheden</c:v>
                </c:pt>
                <c:pt idx="2">
                  <c:v>Inwoners</c:v>
                </c:pt>
                <c:pt idx="3">
                  <c:v>Huishoudens laag inkomen (drempel)</c:v>
                </c:pt>
                <c:pt idx="4">
                  <c:v>Omgevingsadressendichtheid</c:v>
                </c:pt>
                <c:pt idx="5">
                  <c:v>Klantenpotentieel regionaal</c:v>
                </c:pt>
                <c:pt idx="6">
                  <c:v>Eenouderhuishoudens</c:v>
                </c:pt>
                <c:pt idx="7">
                  <c:v>Bijstandsontvangers</c:v>
                </c:pt>
                <c:pt idx="8">
                  <c:v>Huishoudens</c:v>
                </c:pt>
                <c:pt idx="9">
                  <c:v>Klantenpotentieel lokaal</c:v>
                </c:pt>
                <c:pt idx="10">
                  <c:v>Overig</c:v>
                </c:pt>
              </c:strCache>
            </c:strRef>
          </c:cat>
          <c:val>
            <c:numRef>
              <c:f>Sheet1!$B$2:$B$12</c:f>
              <c:numCache>
                <c:formatCode>General</c:formatCode>
                <c:ptCount val="11"/>
                <c:pt idx="0">
                  <c:v>0.58106434100000004</c:v>
                </c:pt>
                <c:pt idx="1">
                  <c:v>0.22220194880000002</c:v>
                </c:pt>
                <c:pt idx="2">
                  <c:v>0.19398843464000001</c:v>
                </c:pt>
                <c:pt idx="3">
                  <c:v>0.14344856572800002</c:v>
                </c:pt>
                <c:pt idx="4">
                  <c:v>0.14122925491584001</c:v>
                </c:pt>
                <c:pt idx="5">
                  <c:v>0.12408047600000001</c:v>
                </c:pt>
                <c:pt idx="6">
                  <c:v>8.8874363759999991E-2</c:v>
                </c:pt>
                <c:pt idx="7">
                  <c:v>6.920339105333341E-2</c:v>
                </c:pt>
                <c:pt idx="8">
                  <c:v>5.0198582720000003E-2</c:v>
                </c:pt>
                <c:pt idx="9">
                  <c:v>3.7699844000000003E-2</c:v>
                </c:pt>
                <c:pt idx="10">
                  <c:v>7.14082911013333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0.21238699999999999</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764542263199999</c:v>
                </c:pt>
                <c:pt idx="1">
                  <c:v>34.076460456240007</c:v>
                </c:pt>
                <c:pt idx="2">
                  <c:v>35.717640978240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76578999999999997</c:v>
                </c:pt>
                <c:pt idx="1">
                  <c:v>0.93459899999999996</c:v>
                </c:pt>
                <c:pt idx="2">
                  <c:v>0.9395259999999999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3.530332263200002</c:v>
                </c:pt>
                <c:pt idx="1">
                  <c:v>35.011059456240005</c:v>
                </c:pt>
                <c:pt idx="2">
                  <c:v>36.6571669782400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228.54024658792218</c:v>
                </c:pt>
                <c:pt idx="2">
                  <c:v>218.49012809725116</c:v>
                </c:pt>
                <c:pt idx="3">
                  <c:v>188.47564859571432</c:v>
                </c:pt>
                <c:pt idx="4">
                  <c:v>233.60343562089432</c:v>
                </c:pt>
                <c:pt idx="5">
                  <c:v>231.77727841747074</c:v>
                </c:pt>
                <c:pt idx="7">
                  <c:v>218.08662268283263</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6.0115813316611852</c:v>
                </c:pt>
                <c:pt idx="2">
                  <c:v>5.7181768611476409</c:v>
                </c:pt>
                <c:pt idx="3">
                  <c:v>5.4427723927772558</c:v>
                </c:pt>
                <c:pt idx="4">
                  <c:v>5.5913621477902788</c:v>
                </c:pt>
                <c:pt idx="5">
                  <c:v>8.1041160856930805</c:v>
                </c:pt>
                <c:pt idx="7">
                  <c:v>6.214106871852063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234.55182791958336</c:v>
                </c:pt>
                <c:pt idx="2">
                  <c:v>224.2083049583988</c:v>
                </c:pt>
                <c:pt idx="3">
                  <c:v>193.91842098849159</c:v>
                </c:pt>
                <c:pt idx="4">
                  <c:v>239.19479776868459</c:v>
                </c:pt>
                <c:pt idx="5">
                  <c:v>239.88139450316382</c:v>
                </c:pt>
                <c:pt idx="7">
                  <c:v>224.30072955468469</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530332263200002</c:v>
                </c:pt>
                <c:pt idx="2">
                  <c:v>33.801987507600614</c:v>
                </c:pt>
                <c:pt idx="3">
                  <c:v>33.801987507600614</c:v>
                </c:pt>
                <c:pt idx="4">
                  <c:v>34.842250456240009</c:v>
                </c:pt>
                <c:pt idx="6">
                  <c:v>34.990451698758449</c:v>
                </c:pt>
                <c:pt idx="7">
                  <c:v>34.990451698758449</c:v>
                </c:pt>
                <c:pt idx="8">
                  <c:v>34.990451698758449</c:v>
                </c:pt>
                <c:pt idx="9">
                  <c:v>36.652239978240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764542263199999</c:v>
                </c:pt>
                <c:pt idx="5">
                  <c:v>34.076460456240007</c:v>
                </c:pt>
                <c:pt idx="10">
                  <c:v>35.717640978240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7165524440061234</c:v>
                </c:pt>
                <c:pt idx="3">
                  <c:v>1.0402629486393951</c:v>
                </c:pt>
                <c:pt idx="8">
                  <c:v>1.661788279481553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2.0607757481554211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76578999999999997</c:v>
                </c:pt>
                <c:pt idx="5">
                  <c:v>0.93459899999999996</c:v>
                </c:pt>
                <c:pt idx="10">
                  <c:v>0.93952599999999997</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16880899999999999</c:v>
                </c:pt>
                <c:pt idx="9">
                  <c:v>4.9270000000000147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3.530332263200002</c:v>
                </c:pt>
                <c:pt idx="5">
                  <c:v>35.011059456240005</c:v>
                </c:pt>
                <c:pt idx="10">
                  <c:v>36.6571669782400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Klantenpotentieel lokaal</c:v>
                </c:pt>
                <c:pt idx="2">
                  <c:v>Huishoudens</c:v>
                </c:pt>
                <c:pt idx="3">
                  <c:v>Klantenpotentieel regionaal</c:v>
                </c:pt>
                <c:pt idx="4">
                  <c:v>Hist.woningen in bewoonde oorden</c:v>
                </c:pt>
                <c:pt idx="5">
                  <c:v>Opp. historische kernen &lt;40 ha</c:v>
                </c:pt>
                <c:pt idx="6">
                  <c:v>Opp. historische kernen 40-64 ha</c:v>
                </c:pt>
                <c:pt idx="10">
                  <c:v>Overig</c:v>
                </c:pt>
              </c:strCache>
            </c:strRef>
          </c:cat>
          <c:val>
            <c:numRef>
              <c:f>Sheet1!$B$2:$B$12</c:f>
              <c:numCache>
                <c:formatCode>General</c:formatCode>
                <c:ptCount val="11"/>
                <c:pt idx="0">
                  <c:v>13.052650387920002</c:v>
                </c:pt>
                <c:pt idx="1">
                  <c:v>9.8599592000000005</c:v>
                </c:pt>
                <c:pt idx="2">
                  <c:v>8.0785491872800019</c:v>
                </c:pt>
                <c:pt idx="3">
                  <c:v>3.5222844800000006</c:v>
                </c:pt>
                <c:pt idx="4">
                  <c:v>1.1828258270399998</c:v>
                </c:pt>
                <c:pt idx="5">
                  <c:v>2.137189600000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5.69770246092793</c:v>
                </c:pt>
                <c:pt idx="1">
                  <c:v>-161.63971312388827</c:v>
                </c:pt>
                <c:pt idx="2">
                  <c:v>-151.8063952832627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5.69770246092793</c:v>
                </c:pt>
                <c:pt idx="1">
                  <c:v>-161.63971312388827</c:v>
                </c:pt>
                <c:pt idx="2">
                  <c:v>-151.8063952832627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Combinatiefuncties</c:v>
                </c:pt>
                <c:pt idx="1">
                  <c:v>Beeldende kunst en vormgeving</c:v>
                </c:pt>
                <c:pt idx="2">
                  <c:v>Bibliotheekmiddelen</c:v>
                </c:pt>
              </c:strCache>
            </c:strRef>
          </c:cat>
          <c:val>
            <c:numRef>
              <c:f>Sheet1!$B$2:$B$12</c:f>
              <c:numCache>
                <c:formatCode>General</c:formatCode>
                <c:ptCount val="11"/>
                <c:pt idx="0">
                  <c:v>0.78952599999999995</c:v>
                </c:pt>
                <c:pt idx="1">
                  <c:v>0.15</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878879991089665</c:v>
                </c:pt>
                <c:pt idx="1">
                  <c:v>33.314239465340293</c:v>
                </c:pt>
                <c:pt idx="2">
                  <c:v>35.09038222351566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3568060000000002</c:v>
                </c:pt>
                <c:pt idx="1">
                  <c:v>0.95680600000000005</c:v>
                </c:pt>
                <c:pt idx="2">
                  <c:v>0.9568060000000000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4.235685991089667</c:v>
                </c:pt>
                <c:pt idx="1">
                  <c:v>34.271045465340293</c:v>
                </c:pt>
                <c:pt idx="2">
                  <c:v>36.04718822351566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5.37074968812999</c:v>
                </c:pt>
                <c:pt idx="1">
                  <c:v>213.16202004875865</c:v>
                </c:pt>
                <c:pt idx="2">
                  <c:v>224.5267152753008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5.183062115882649</c:v>
                </c:pt>
                <c:pt idx="1">
                  <c:v>6.122147857133716</c:v>
                </c:pt>
                <c:pt idx="2">
                  <c:v>6.12214785713371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0.55381180401264</c:v>
                </c:pt>
                <c:pt idx="1">
                  <c:v>219.28416790589236</c:v>
                </c:pt>
                <c:pt idx="2">
                  <c:v>230.6488631324345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224.52671527530083</c:v>
                </c:pt>
                <c:pt idx="2">
                  <c:v>255.27323251061742</c:v>
                </c:pt>
                <c:pt idx="3">
                  <c:v>240.54480115481564</c:v>
                </c:pt>
                <c:pt idx="4">
                  <c:v>246.94695777277838</c:v>
                </c:pt>
                <c:pt idx="5">
                  <c:v>248.43340214988879</c:v>
                </c:pt>
                <c:pt idx="7">
                  <c:v>247.79959839702505</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6.122147857133716</c:v>
                </c:pt>
                <c:pt idx="2">
                  <c:v>29.711909420406069</c:v>
                </c:pt>
                <c:pt idx="3">
                  <c:v>7.5259895613836028</c:v>
                </c:pt>
                <c:pt idx="4">
                  <c:v>7.3766739081093347</c:v>
                </c:pt>
                <c:pt idx="5">
                  <c:v>12.476847017976425</c:v>
                </c:pt>
                <c:pt idx="7">
                  <c:v>14.272854976968857</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230.64886313243454</c:v>
                </c:pt>
                <c:pt idx="2">
                  <c:v>284.98514193102352</c:v>
                </c:pt>
                <c:pt idx="3">
                  <c:v>248.07079071619924</c:v>
                </c:pt>
                <c:pt idx="4">
                  <c:v>254.32363168088773</c:v>
                </c:pt>
                <c:pt idx="5">
                  <c:v>260.91024916786523</c:v>
                </c:pt>
                <c:pt idx="7">
                  <c:v>262.07245337399394</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4.235685991089667</c:v>
                </c:pt>
                <c:pt idx="2">
                  <c:v>34.657091022834805</c:v>
                </c:pt>
                <c:pt idx="3">
                  <c:v>34.657091022834805</c:v>
                </c:pt>
                <c:pt idx="4">
                  <c:v>34.2710454653403</c:v>
                </c:pt>
                <c:pt idx="6">
                  <c:v>34.271045465340293</c:v>
                </c:pt>
                <c:pt idx="7">
                  <c:v>34.41637598204894</c:v>
                </c:pt>
                <c:pt idx="8">
                  <c:v>34.41637598204894</c:v>
                </c:pt>
                <c:pt idx="9">
                  <c:v>36.04718822351566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878879991089665</c:v>
                </c:pt>
                <c:pt idx="5">
                  <c:v>33.314239465340293</c:v>
                </c:pt>
                <c:pt idx="10">
                  <c:v>35.09038222351566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44191920881566099</c:v>
                </c:pt>
                <c:pt idx="3">
                  <c:v>1.013954442505494</c:v>
                </c:pt>
                <c:pt idx="6">
                  <c:v>0.26493802781599057</c:v>
                </c:pt>
                <c:pt idx="8">
                  <c:v>1.630812241466729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0514177070526801E-2</c:v>
                </c:pt>
                <c:pt idx="7">
                  <c:v>0.11960751110734451</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3568060000000002</c:v>
                </c:pt>
                <c:pt idx="5">
                  <c:v>0.95680600000000005</c:v>
                </c:pt>
                <c:pt idx="10">
                  <c:v>0.95680600000000005</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400000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4.235685991089667</c:v>
                </c:pt>
                <c:pt idx="5">
                  <c:v>34.271045465340293</c:v>
                </c:pt>
                <c:pt idx="10">
                  <c:v>36.04718822351566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mgevingsadressendichtheid</c:v>
                </c:pt>
                <c:pt idx="1">
                  <c:v>Woonruimten</c:v>
                </c:pt>
                <c:pt idx="2">
                  <c:v>Inwoners</c:v>
                </c:pt>
                <c:pt idx="3">
                  <c:v>Woonruimten * bodemfactor kern</c:v>
                </c:pt>
                <c:pt idx="4">
                  <c:v>Opp. bebouwing kern *bodemfactor kern</c:v>
                </c:pt>
                <c:pt idx="5">
                  <c:v>Oppervlak bebouwing woonkernen</c:v>
                </c:pt>
                <c:pt idx="6">
                  <c:v>Bedrijfsvestigingen</c:v>
                </c:pt>
                <c:pt idx="7">
                  <c:v>Klantenpotentieel lokaal</c:v>
                </c:pt>
                <c:pt idx="8">
                  <c:v>Minderheden</c:v>
                </c:pt>
                <c:pt idx="9">
                  <c:v>Huishoudens met laag inkomen</c:v>
                </c:pt>
                <c:pt idx="10">
                  <c:v>Overig</c:v>
                </c:pt>
              </c:strCache>
            </c:strRef>
          </c:cat>
          <c:val>
            <c:numRef>
              <c:f>Sheet1!$B$2:$B$12</c:f>
              <c:numCache>
                <c:formatCode>General</c:formatCode>
                <c:ptCount val="11"/>
                <c:pt idx="0">
                  <c:v>9.8482185793991981</c:v>
                </c:pt>
                <c:pt idx="1">
                  <c:v>6.156689418880001</c:v>
                </c:pt>
                <c:pt idx="2">
                  <c:v>4.1115470822400004</c:v>
                </c:pt>
                <c:pt idx="3">
                  <c:v>3.5421897783999996</c:v>
                </c:pt>
                <c:pt idx="4">
                  <c:v>3.1475229801600002</c:v>
                </c:pt>
                <c:pt idx="5">
                  <c:v>2.3278806886400001</c:v>
                </c:pt>
                <c:pt idx="6">
                  <c:v>2.0074549695199999</c:v>
                </c:pt>
                <c:pt idx="7">
                  <c:v>0.58579757600000004</c:v>
                </c:pt>
                <c:pt idx="8">
                  <c:v>0.56257969819999998</c:v>
                </c:pt>
                <c:pt idx="9">
                  <c:v>0.50158734079999989</c:v>
                </c:pt>
                <c:pt idx="10">
                  <c:v>2.2989141112764599</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Bodemsanering</c:v>
                </c:pt>
                <c:pt idx="1">
                  <c:v>VTH provinciale taken</c:v>
                </c:pt>
                <c:pt idx="2">
                  <c:v>Deltaprogr ruimtelijke adaptatie</c:v>
                </c:pt>
              </c:strCache>
            </c:strRef>
          </c:cat>
          <c:val>
            <c:numRef>
              <c:f>Sheet1!$B$2:$B$12</c:f>
              <c:numCache>
                <c:formatCode>General</c:formatCode>
                <c:ptCount val="11"/>
                <c:pt idx="0">
                  <c:v>0.78509700000000004</c:v>
                </c:pt>
                <c:pt idx="1">
                  <c:v>0.171709</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8970278798127174</c:v>
                </c:pt>
                <c:pt idx="1">
                  <c:v>-5.0869855261666652</c:v>
                </c:pt>
                <c:pt idx="2">
                  <c:v>-5.3699402811974011</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970278798127174</c:v>
                </c:pt>
                <c:pt idx="1">
                  <c:v>-5.0869855261666652</c:v>
                </c:pt>
                <c:pt idx="2">
                  <c:v>-5.3699402811974011</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547729631715804</c:v>
                </c:pt>
                <c:pt idx="1">
                  <c:v>-32.549208029936558</c:v>
                </c:pt>
                <c:pt idx="2">
                  <c:v>-34.359701324478202</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547729631715804</c:v>
                </c:pt>
                <c:pt idx="1">
                  <c:v>-32.549208029936558</c:v>
                </c:pt>
                <c:pt idx="2">
                  <c:v>-34.359701324478202</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34.359701324478202</c:v>
                </c:pt>
                <c:pt idx="2">
                  <c:v>-21.226673063690029</c:v>
                </c:pt>
                <c:pt idx="3">
                  <c:v>-31.78048138694556</c:v>
                </c:pt>
                <c:pt idx="4">
                  <c:v>-37.553409822679463</c:v>
                </c:pt>
                <c:pt idx="5">
                  <c:v>-39.143772185205698</c:v>
                </c:pt>
                <c:pt idx="7">
                  <c:v>-32.426084114630186</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34.359701324478202</c:v>
                </c:pt>
                <c:pt idx="2">
                  <c:v>-21.226673063690029</c:v>
                </c:pt>
                <c:pt idx="3">
                  <c:v>-31.78048138694556</c:v>
                </c:pt>
                <c:pt idx="4">
                  <c:v>-37.553409822679463</c:v>
                </c:pt>
                <c:pt idx="5">
                  <c:v>-39.143772185205698</c:v>
                </c:pt>
                <c:pt idx="7">
                  <c:v>-32.426084114630186</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151.80639528326276</c:v>
                </c:pt>
                <c:pt idx="2">
                  <c:v>-131.15614166417552</c:v>
                </c:pt>
                <c:pt idx="3">
                  <c:v>-226.81541615197591</c:v>
                </c:pt>
                <c:pt idx="4">
                  <c:v>-165.62673164060828</c:v>
                </c:pt>
                <c:pt idx="5">
                  <c:v>-120.64183351288794</c:v>
                </c:pt>
                <c:pt idx="7">
                  <c:v>-161.0600307424119</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151.80639528326276</c:v>
                </c:pt>
                <c:pt idx="2">
                  <c:v>-131.15614166417552</c:v>
                </c:pt>
                <c:pt idx="3">
                  <c:v>-226.81541615197591</c:v>
                </c:pt>
                <c:pt idx="4">
                  <c:v>-165.62673164060828</c:v>
                </c:pt>
                <c:pt idx="5">
                  <c:v>-120.64183351288794</c:v>
                </c:pt>
                <c:pt idx="7">
                  <c:v>-161.0600307424119</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9316280023581767</c:v>
                </c:pt>
                <c:pt idx="2">
                  <c:v>-4.9316280023581767</c:v>
                </c:pt>
                <c:pt idx="3">
                  <c:v>-5.0869855261666652</c:v>
                </c:pt>
                <c:pt idx="4">
                  <c:v>-5.0869855261666652</c:v>
                </c:pt>
                <c:pt idx="6">
                  <c:v>-5.1202883176564562</c:v>
                </c:pt>
                <c:pt idx="7">
                  <c:v>-5.1202883176564562</c:v>
                </c:pt>
                <c:pt idx="8">
                  <c:v>-5.3699402811974011</c:v>
                </c:pt>
                <c:pt idx="9">
                  <c:v>-5.369940281197401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8970278798127174</c:v>
                </c:pt>
                <c:pt idx="5">
                  <c:v>-5.0869855261666652</c:v>
                </c:pt>
                <c:pt idx="10">
                  <c:v>-5.36994028119740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3.4600122545459522E-2</c:v>
                </c:pt>
                <c:pt idx="3">
                  <c:v>0.15535752380848833</c:v>
                </c:pt>
                <c:pt idx="6">
                  <c:v>3.3302791489790914E-2</c:v>
                </c:pt>
                <c:pt idx="8">
                  <c:v>0.2496519635409449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8970278798127174</c:v>
                </c:pt>
                <c:pt idx="5">
                  <c:v>-5.0869855261666652</c:v>
                </c:pt>
                <c:pt idx="10">
                  <c:v>-5.369940281197401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Oeverlengte *dichtheid *bodemf. gem.</c:v>
                </c:pt>
                <c:pt idx="5">
                  <c:v>Land</c:v>
                </c:pt>
                <c:pt idx="6">
                  <c:v>Oeverlengte * bodemfactor gemeente</c:v>
                </c:pt>
                <c:pt idx="7">
                  <c:v>Land * bodemfactor gemeente</c:v>
                </c:pt>
                <c:pt idx="10">
                  <c:v>Overig</c:v>
                </c:pt>
              </c:strCache>
            </c:strRef>
          </c:cat>
          <c:val>
            <c:numRef>
              <c:f>Sheet1!$B$2:$B$12</c:f>
              <c:numCache>
                <c:formatCode>General</c:formatCode>
                <c:ptCount val="11"/>
                <c:pt idx="0">
                  <c:v>-7.0281892990400001</c:v>
                </c:pt>
                <c:pt idx="1">
                  <c:v>2.0536988326400003</c:v>
                </c:pt>
                <c:pt idx="2">
                  <c:v>-1.3780736850399999</c:v>
                </c:pt>
                <c:pt idx="3">
                  <c:v>0.76162919615327995</c:v>
                </c:pt>
                <c:pt idx="4">
                  <c:v>0.21965278080932032</c:v>
                </c:pt>
                <c:pt idx="5">
                  <c:v>-2.9932325280000005E-2</c:v>
                </c:pt>
                <c:pt idx="6">
                  <c:v>1.8071745120000003E-2</c:v>
                </c:pt>
                <c:pt idx="7">
                  <c:v>1.320247343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163046423871203</c:v>
                </c:pt>
                <c:pt idx="1">
                  <c:v>13.754076791298042</c:v>
                </c:pt>
                <c:pt idx="2">
                  <c:v>14.50373841085935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163046423871203</c:v>
                </c:pt>
                <c:pt idx="1">
                  <c:v>13.754076791298042</c:v>
                </c:pt>
                <c:pt idx="2">
                  <c:v>14.50373841085935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4.799237394967349</c:v>
                </c:pt>
                <c:pt idx="1">
                  <c:v>88.005814924548844</c:v>
                </c:pt>
                <c:pt idx="2">
                  <c:v>92.8025441233338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4.799237394967349</c:v>
                </c:pt>
                <c:pt idx="1">
                  <c:v>88.005814924548844</c:v>
                </c:pt>
                <c:pt idx="2">
                  <c:v>92.80254412333388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92.802544123333888</c:v>
                </c:pt>
                <c:pt idx="2">
                  <c:v>95.828534997753479</c:v>
                </c:pt>
                <c:pt idx="3">
                  <c:v>101.20577776733946</c:v>
                </c:pt>
                <c:pt idx="4">
                  <c:v>98.955593347772648</c:v>
                </c:pt>
                <c:pt idx="5">
                  <c:v>100.02624941386034</c:v>
                </c:pt>
                <c:pt idx="7">
                  <c:v>99.004038881681481</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0</c:v>
                </c:pt>
                <c:pt idx="2">
                  <c:v>0.90393559354652464</c:v>
                </c:pt>
                <c:pt idx="3">
                  <c:v>0</c:v>
                </c:pt>
                <c:pt idx="4">
                  <c:v>1.627833079342434</c:v>
                </c:pt>
                <c:pt idx="5">
                  <c:v>1.7435497465185614</c:v>
                </c:pt>
                <c:pt idx="7">
                  <c:v>1.0688296048518802</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92.802544123333888</c:v>
                </c:pt>
                <c:pt idx="2">
                  <c:v>96.732470591300014</c:v>
                </c:pt>
                <c:pt idx="3">
                  <c:v>101.20577776733946</c:v>
                </c:pt>
                <c:pt idx="4">
                  <c:v>100.58342642711509</c:v>
                </c:pt>
                <c:pt idx="5">
                  <c:v>101.76979916037892</c:v>
                </c:pt>
                <c:pt idx="7">
                  <c:v>100.07286848653337</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163046423871203</c:v>
                </c:pt>
                <c:pt idx="2">
                  <c:v>13.335054894036482</c:v>
                </c:pt>
                <c:pt idx="3">
                  <c:v>13.335054894036482</c:v>
                </c:pt>
                <c:pt idx="4">
                  <c:v>13.754076791298042</c:v>
                </c:pt>
                <c:pt idx="6">
                  <c:v>13.754076791298042</c:v>
                </c:pt>
                <c:pt idx="7">
                  <c:v>13.829303243117815</c:v>
                </c:pt>
                <c:pt idx="8">
                  <c:v>13.829303243117815</c:v>
                </c:pt>
                <c:pt idx="9">
                  <c:v>14.50373841085935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163046423871203</c:v>
                </c:pt>
                <c:pt idx="5">
                  <c:v>13.754076791298042</c:v>
                </c:pt>
                <c:pt idx="10">
                  <c:v>14.50373841085935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720084701652789</c:v>
                </c:pt>
                <c:pt idx="3">
                  <c:v>0.41902189726156019</c:v>
                </c:pt>
                <c:pt idx="6">
                  <c:v>7.5226451819773985E-2</c:v>
                </c:pt>
                <c:pt idx="8">
                  <c:v>0.6744351677415435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163046423871203</c:v>
                </c:pt>
                <c:pt idx="5">
                  <c:v>13.754076791298042</c:v>
                </c:pt>
                <c:pt idx="10">
                  <c:v>14.50373841085935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Minderheden</c:v>
                </c:pt>
                <c:pt idx="3">
                  <c:v>Woz waarde niet woningen (in mln)</c:v>
                </c:pt>
                <c:pt idx="4">
                  <c:v>Klantenpotentieel regionaal</c:v>
                </c:pt>
                <c:pt idx="5">
                  <c:v>Huishoudens laag inkomen (drempel)</c:v>
                </c:pt>
                <c:pt idx="6">
                  <c:v>Klantenpotentieel lokaal</c:v>
                </c:pt>
                <c:pt idx="7">
                  <c:v>Bedrijfsvestigingen</c:v>
                </c:pt>
                <c:pt idx="8">
                  <c:v>Opp. bebouwing totaal</c:v>
                </c:pt>
                <c:pt idx="9">
                  <c:v>Kernen met minstens 500 adressen</c:v>
                </c:pt>
                <c:pt idx="10">
                  <c:v>Overig</c:v>
                </c:pt>
              </c:strCache>
            </c:strRef>
          </c:cat>
          <c:val>
            <c:numRef>
              <c:f>Sheet1!$B$2:$B$12</c:f>
              <c:numCache>
                <c:formatCode>General</c:formatCode>
                <c:ptCount val="11"/>
                <c:pt idx="0">
                  <c:v>6.4629814121599996</c:v>
                </c:pt>
                <c:pt idx="1">
                  <c:v>3.3390630983673599</c:v>
                </c:pt>
                <c:pt idx="2">
                  <c:v>1.5150609292000001</c:v>
                </c:pt>
                <c:pt idx="3">
                  <c:v>1.407995437212</c:v>
                </c:pt>
                <c:pt idx="4">
                  <c:v>0.8005192000000001</c:v>
                </c:pt>
                <c:pt idx="5">
                  <c:v>0.27219464688</c:v>
                </c:pt>
                <c:pt idx="6">
                  <c:v>0.19429919600000004</c:v>
                </c:pt>
                <c:pt idx="7">
                  <c:v>0.18203139240000002</c:v>
                </c:pt>
                <c:pt idx="8">
                  <c:v>0.13883111424000003</c:v>
                </c:pt>
                <c:pt idx="9">
                  <c:v>8.9495660800000015E-2</c:v>
                </c:pt>
                <c:pt idx="10">
                  <c:v>0.101266323599999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4685773724015</c:v>
                </c:pt>
                <c:pt idx="1">
                  <c:v>15.108799245751296</c:v>
                </c:pt>
                <c:pt idx="2">
                  <c:v>15.87461977475919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4.4685773724015</c:v>
                </c:pt>
                <c:pt idx="1">
                  <c:v>15.108799245751296</c:v>
                </c:pt>
                <c:pt idx="2">
                  <c:v>15.87461977475919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3.209754631321431</c:v>
                </c:pt>
                <c:pt idx="1">
                  <c:v>96.674041473652764</c:v>
                </c:pt>
                <c:pt idx="2">
                  <c:v>101.574163871102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93.209754631321431</c:v>
                </c:pt>
                <c:pt idx="1">
                  <c:v>96.674041473652764</c:v>
                </c:pt>
                <c:pt idx="2">
                  <c:v>101.574163871102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5.228814400575864</c:v>
                </c:pt>
                <c:pt idx="2">
                  <c:v>-25.228814400575864</c:v>
                </c:pt>
                <c:pt idx="3">
                  <c:v>-25.262024205280003</c:v>
                </c:pt>
                <c:pt idx="4">
                  <c:v>-25.262024205280003</c:v>
                </c:pt>
                <c:pt idx="6">
                  <c:v>-25.340082853575289</c:v>
                </c:pt>
                <c:pt idx="7">
                  <c:v>-25.340082853575289</c:v>
                </c:pt>
                <c:pt idx="8">
                  <c:v>-23.725214293240004</c:v>
                </c:pt>
                <c:pt idx="9">
                  <c:v>-23.7252142932400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4.168331562199999</c:v>
                </c:pt>
                <c:pt idx="5">
                  <c:v>-25.262024205280003</c:v>
                </c:pt>
                <c:pt idx="10">
                  <c:v>-23.7252142932400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41555688912523725</c:v>
                </c:pt>
                <c:pt idx="7">
                  <c:v>5.934453441025270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060482838375866</c:v>
                </c:pt>
                <c:pt idx="3">
                  <c:v>0.44876669382937556</c:v>
                </c:pt>
                <c:pt idx="6">
                  <c:v>7.8058648295286776E-2</c:v>
                </c:pt>
                <c:pt idx="8">
                  <c:v>4.319584880689983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4.168331562199999</c:v>
                </c:pt>
                <c:pt idx="5">
                  <c:v>-25.262024205280003</c:v>
                </c:pt>
                <c:pt idx="10">
                  <c:v>-23.725214293240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C$2:$C$10</c:f>
              <c:numCache>
                <c:formatCode>General</c:formatCode>
                <c:ptCount val="9"/>
                <c:pt idx="0">
                  <c:v>101.57416387110297</c:v>
                </c:pt>
                <c:pt idx="2">
                  <c:v>107.48711068246465</c:v>
                </c:pt>
                <c:pt idx="3">
                  <c:v>106.34674875561318</c:v>
                </c:pt>
                <c:pt idx="4">
                  <c:v>102.98039237918096</c:v>
                </c:pt>
                <c:pt idx="5">
                  <c:v>105.16157242820123</c:v>
                </c:pt>
                <c:pt idx="7">
                  <c:v>105.493956061365</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D$2:$D$10</c:f>
              <c:numCache>
                <c:formatCode>General</c:formatCode>
                <c:ptCount val="9"/>
                <c:pt idx="0">
                  <c:v>0</c:v>
                </c:pt>
                <c:pt idx="2">
                  <c:v>0</c:v>
                </c:pt>
                <c:pt idx="3">
                  <c:v>0.61594320355301979</c:v>
                </c:pt>
                <c:pt idx="4">
                  <c:v>0</c:v>
                </c:pt>
                <c:pt idx="5">
                  <c:v>0</c:v>
                </c:pt>
                <c:pt idx="7">
                  <c:v>0.15398580088825495</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mersfoort</c:v>
                </c:pt>
                <c:pt idx="2">
                  <c:v>Zaanstad</c:v>
                </c:pt>
                <c:pt idx="3">
                  <c:v>Haarlemmermeer</c:v>
                </c:pt>
                <c:pt idx="4">
                  <c:v>s-Hertogenbosch</c:v>
                </c:pt>
                <c:pt idx="5">
                  <c:v>Enschede</c:v>
                </c:pt>
                <c:pt idx="7">
                  <c:v>4 gemeenten</c:v>
                </c:pt>
                <c:pt idx="8">
                  <c:v>Landelijk</c:v>
                </c:pt>
              </c:strCache>
            </c:strRef>
          </c:cat>
          <c:val>
            <c:numRef>
              <c:f>Sheet1!$B$2:$B$10</c:f>
              <c:numCache>
                <c:formatCode>General</c:formatCode>
                <c:ptCount val="9"/>
                <c:pt idx="0">
                  <c:v>101.57416387110297</c:v>
                </c:pt>
                <c:pt idx="2">
                  <c:v>107.48711068246465</c:v>
                </c:pt>
                <c:pt idx="3">
                  <c:v>106.96269195916619</c:v>
                </c:pt>
                <c:pt idx="4">
                  <c:v>102.98039237918096</c:v>
                </c:pt>
                <c:pt idx="5">
                  <c:v>105.16157242820123</c:v>
                </c:pt>
                <c:pt idx="7">
                  <c:v>105.64794186225325</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4.4685773724015</c:v>
                </c:pt>
                <c:pt idx="2">
                  <c:v>14.580316382048995</c:v>
                </c:pt>
                <c:pt idx="3">
                  <c:v>14.648032552625516</c:v>
                </c:pt>
                <c:pt idx="4">
                  <c:v>15.108799245751298</c:v>
                </c:pt>
                <c:pt idx="6">
                  <c:v>15.108799245751296</c:v>
                </c:pt>
                <c:pt idx="7">
                  <c:v>15.136083700323463</c:v>
                </c:pt>
                <c:pt idx="8">
                  <c:v>15.136083700323463</c:v>
                </c:pt>
                <c:pt idx="9">
                  <c:v>15.8746197747591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4.4685773724015</c:v>
                </c:pt>
                <c:pt idx="5">
                  <c:v>15.108799245751296</c:v>
                </c:pt>
                <c:pt idx="10">
                  <c:v>15.874619774759198</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1173900964749456</c:v>
                </c:pt>
                <c:pt idx="2">
                  <c:v>6.7716170576520351E-2</c:v>
                </c:pt>
                <c:pt idx="3">
                  <c:v>0.46076669312578145</c:v>
                </c:pt>
                <c:pt idx="6">
                  <c:v>3.4503330295302011E-2</c:v>
                </c:pt>
                <c:pt idx="8">
                  <c:v>0.7385360744357349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7.2188757231349465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4.4685773724015</c:v>
                </c:pt>
                <c:pt idx="5">
                  <c:v>15.108799245751296</c:v>
                </c:pt>
                <c:pt idx="10">
                  <c:v>15.87461977475919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Klantenpotentieel regionaal</c:v>
                </c:pt>
                <c:pt idx="3">
                  <c:v>Omgevingsadressendichtheid</c:v>
                </c:pt>
                <c:pt idx="4">
                  <c:v>Minderheden</c:v>
                </c:pt>
                <c:pt idx="5">
                  <c:v>Vast bedrag voor iedere gemeente</c:v>
                </c:pt>
                <c:pt idx="6">
                  <c:v>Bewoonde oorden 1930</c:v>
                </c:pt>
                <c:pt idx="7">
                  <c:v>Bedrijfsvestigingen</c:v>
                </c:pt>
                <c:pt idx="8">
                  <c:v>Land</c:v>
                </c:pt>
                <c:pt idx="9">
                  <c:v>Minderheden (drempel)</c:v>
                </c:pt>
                <c:pt idx="10">
                  <c:v>Overig</c:v>
                </c:pt>
              </c:strCache>
            </c:strRef>
          </c:cat>
          <c:val>
            <c:numRef>
              <c:f>Sheet1!$B$2:$B$12</c:f>
              <c:numCache>
                <c:formatCode>General</c:formatCode>
                <c:ptCount val="11"/>
                <c:pt idx="0">
                  <c:v>12.856142622960002</c:v>
                </c:pt>
                <c:pt idx="1">
                  <c:v>3.6468579056000006</c:v>
                </c:pt>
                <c:pt idx="2">
                  <c:v>-1.048680152</c:v>
                </c:pt>
                <c:pt idx="3">
                  <c:v>-0.87007308832079999</c:v>
                </c:pt>
                <c:pt idx="4">
                  <c:v>0.54921613759999999</c:v>
                </c:pt>
                <c:pt idx="5">
                  <c:v>0.28248488112000003</c:v>
                </c:pt>
                <c:pt idx="6">
                  <c:v>0.24059345024000003</c:v>
                </c:pt>
                <c:pt idx="7">
                  <c:v>0.20789901132000002</c:v>
                </c:pt>
                <c:pt idx="8">
                  <c:v>1.01790062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rgoeding raadsleden gemeent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OZB (niet-woningen eigenaar)</c:v>
                </c:pt>
                <c:pt idx="2">
                  <c:v>OZB (niet-woningen gebruiker)</c:v>
                </c:pt>
                <c:pt idx="3">
                  <c:v>Woonruimten</c:v>
                </c:pt>
                <c:pt idx="4">
                  <c:v>Vast bedrag voor iedere gemeente</c:v>
                </c:pt>
                <c:pt idx="10">
                  <c:v>Overig</c:v>
                </c:pt>
              </c:strCache>
            </c:strRef>
          </c:cat>
          <c:val>
            <c:numRef>
              <c:f>Sheet1!$B$2:$B$12</c:f>
              <c:numCache>
                <c:formatCode>General</c:formatCode>
                <c:ptCount val="11"/>
                <c:pt idx="0">
                  <c:v>-14.340408</c:v>
                </c:pt>
                <c:pt idx="1">
                  <c:v>-3.2837381010000004</c:v>
                </c:pt>
                <c:pt idx="2">
                  <c:v>-3.2112994340000003</c:v>
                </c:pt>
                <c:pt idx="3">
                  <c:v>-2.94613233824</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955136902623799</c:v>
                </c:pt>
                <c:pt idx="1">
                  <c:v>24.381419935721063</c:v>
                </c:pt>
                <c:pt idx="2">
                  <c:v>25.45855444481545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73327200000000003</c:v>
                </c:pt>
                <c:pt idx="1">
                  <c:v>19.673825999999998</c:v>
                </c:pt>
                <c:pt idx="2">
                  <c:v>20.089593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688408902623799</c:v>
                </c:pt>
                <c:pt idx="1">
                  <c:v>44.055245935721061</c:v>
                </c:pt>
                <c:pt idx="2">
                  <c:v>45.5481474448154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250.38060707306735</cx:pt>
          <cx:pt idx="1">-23.725214293240004</cx:pt>
          <cx:pt idx="2">226.65539277982734</cx:pt>
          <cx:pt idx="3">78.32359900000003</cx:pt>
          <cx:pt idx="4">304.97899177982737</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5-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Amersfoort</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Amersfoort is ca. 305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476239097"/>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05,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78,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26,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3,7</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50,4</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Amersfoort is ca. 305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07322373"/>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3257577811"/>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1245996147"/>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67892209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9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0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7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Amersfoort is ca. 305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42180460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6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1,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02,4</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Amersfoort ca. 1.95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240938814"/>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Amersfoor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95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9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60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99030722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75636386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778758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3966406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5730980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9242615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8774900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08049530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122917998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7800206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65215622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62579678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95380652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0487505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 / 2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 / 1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 / 2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 / 3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5 / 7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75805274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201918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51712694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5,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667665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1146695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65800962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6364926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504107582"/>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3439867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66463172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8802968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3913094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3121471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08502899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4327943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6749313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HBT emancipatiebelei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415290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9060972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1019425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0431831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9.3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16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16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42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8337037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5688154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5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9 / 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3 / 2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5246879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1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4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0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9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0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5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5417851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4428876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5,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66946090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764377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hulp kinderen AZC</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weld hoort nergens thuis</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ctieprogramma thuisloze jong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3933190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870018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15932317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5199427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09988353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99603653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4 / 4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3 / 1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1 / 4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 / 66</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3 / 12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0579634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6334160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4794795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3,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64705010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1838504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eschermd wo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aatschappelijke opvang</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rouwenopvang</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MO</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7,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39680000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1468279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74659247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16618832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9.353</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16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5.167</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3148442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88769471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20012259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16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1.43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07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8.9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04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2.51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4571291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9669403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94841869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2469319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aaggeletterdhei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11196855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39832054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7661092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1281261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114213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18698177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3551153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18140292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01645402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1991122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10681145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98419408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0750129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8982437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044844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8887901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6 / 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63679061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3059700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05234918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ist.woningen in bewoonde oor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40-64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5,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22139126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802136278"/>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eldende kunst en vormgeving</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2496324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412988506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85423726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95785119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75065122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59927062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0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9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 / 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2928627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53897079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3572616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5,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03205729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5619890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odemsaneri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TH provinciale tak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86795599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357246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1102737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43360701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3294252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1718775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78777194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43389347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00329680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6356093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7384539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5839051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41731505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2887925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07895107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88809679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Amersfoort,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619662079"/>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5,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3,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52086265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9249026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4,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1740890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919661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95088896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67007636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4708164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3888933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55.226</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56.28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8370763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9277453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251917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6.2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5.88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3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4.20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8.98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23.31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6595377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75574250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5138503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03722873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7072835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Amersfoort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1920369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74,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0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Amersfoort is ca. 305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571911609"/>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76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4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9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81</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0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Amersfoort ca. 1.951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3119011532"/>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Amersfoort</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156.28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Zaanstad</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55.88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Haarlemmermeer</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54.23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S-Hertogenbosch</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54.205</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Enschede</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58.98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4133304433"/>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Amersfoort</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95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9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6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60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Amersfoort</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543594093"/>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3045321760"/>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5.2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2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28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Amersfoort,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2</TotalTime>
  <Words>9730</Words>
  <Application>Microsoft Office PowerPoint</Application>
  <PresentationFormat>Widescreen</PresentationFormat>
  <Paragraphs>2198</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Amersfoort is ca. 305 mln (1/3)</vt:lpstr>
      <vt:lpstr>Totale uitkering voor Amersfoort is ca. 305 mln (2/3)</vt:lpstr>
      <vt:lpstr>Totale uitkering voor Amersfoort is ca. 305 mln (3/3)</vt:lpstr>
      <vt:lpstr>Per inwoner ontvangt Amersfoort ca. 1.951 euro</vt:lpstr>
      <vt:lpstr>Dit is ca. 60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Amersfoort is ca. 305 mln</vt:lpstr>
      <vt:lpstr>Per inwoner ontvangt Amersfoort ca. 1.951 euro</vt:lpstr>
      <vt:lpstr>Dit is ca. €60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5T17:30:38Z</dcterms:modified>
</cp:coreProperties>
</file>